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"/>
  </p:notesMasterIdLst>
  <p:sldIdLst>
    <p:sldId id="256" r:id="rId2"/>
    <p:sldId id="258" r:id="rId3"/>
    <p:sldId id="257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08"/>
    <p:restoredTop sz="94687"/>
  </p:normalViewPr>
  <p:slideViewPr>
    <p:cSldViewPr snapToGrid="0">
      <p:cViewPr>
        <p:scale>
          <a:sx n="106" d="100"/>
          <a:sy n="106" d="100"/>
        </p:scale>
        <p:origin x="816" y="3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3637D6-E37B-614D-890C-D122667C3B7B}" type="datetimeFigureOut">
              <a:rPr lang="en-US" smtClean="0"/>
              <a:t>8/29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A9C5DE-0115-E04B-96D6-AD894261C0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7227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4C7E3E-B098-FB2F-85B0-9B1390BAC6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0E7C25-AD6B-F885-7748-2154B03635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E605D1-8B6F-9F96-036A-D1424EC8F3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802F6F-3ABD-5AFF-5E2B-6384FFD716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A9C5DE-0115-E04B-96D6-AD894261C07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748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A9C5DE-0115-E04B-96D6-AD894261C07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256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7AC04-D7EE-14D3-B641-737CB5130B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E4D31D-D1F7-3259-A4A5-0A5ED86EBD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0B0F7A-2687-E336-E252-2B204CB221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A5A2B1-86E7-4C4B-8360-F0740C09C93F}" type="datetimeFigureOut">
              <a:rPr lang="en-US" smtClean="0"/>
              <a:t>8/2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4237D9-2EF6-0E1C-C390-20F90094D4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244CBC-FB4F-7525-2864-547399BAF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1A720-59FC-604D-A4FE-DBB465017E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4666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348D5-7ED6-3598-B696-8B7959BC22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A66E6F-00A9-7BC8-8353-8F53A30ACE4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7EA524-2862-E158-A15B-452C3ED427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A5A2B1-86E7-4C4B-8360-F0740C09C93F}" type="datetimeFigureOut">
              <a:rPr lang="en-US" smtClean="0"/>
              <a:t>8/2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1B5FED-57CF-26C4-D1A5-8F3A80AF6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67A605-82AB-2CE7-AF0D-23745038D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1A720-59FC-604D-A4FE-DBB465017E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6533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DE94630-B262-0DBE-55A4-0184D22E673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E116AC7-4E47-62B3-9065-952CE5F407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584D2D-C926-C913-458A-396761409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A5A2B1-86E7-4C4B-8360-F0740C09C93F}" type="datetimeFigureOut">
              <a:rPr lang="en-US" smtClean="0"/>
              <a:t>8/2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E15FBF-6C97-1038-3DB6-E101714B73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A929C0-1683-69DE-212C-BE71EA749F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1A720-59FC-604D-A4FE-DBB465017E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337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8606C0-41DD-A69D-5D42-97EF34DA2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D6042B-36BD-F110-51DC-B07E46AA8D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E0C88C-3628-FC40-4988-6E38140948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A5A2B1-86E7-4C4B-8360-F0740C09C93F}" type="datetimeFigureOut">
              <a:rPr lang="en-US" smtClean="0"/>
              <a:t>8/2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D6548A-0A3B-FAEF-EF34-2F82F7E98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4B72F2-33E7-F2A1-D962-8F28CFC75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1A720-59FC-604D-A4FE-DBB465017E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0225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3E4D8A-FD2B-B21E-0B17-EF7B22F130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9F8A1F-0995-9953-40BF-9662BAA7BF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E40216-FEE9-10DE-C423-169FA613AB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A5A2B1-86E7-4C4B-8360-F0740C09C93F}" type="datetimeFigureOut">
              <a:rPr lang="en-US" smtClean="0"/>
              <a:t>8/2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30D010-B5B0-CF37-C4EC-732A5D2A4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D9E31A-8340-FCF4-6C20-FF4CED9D9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1A720-59FC-604D-A4FE-DBB465017E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20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53695D-1C06-C911-E87F-CB5BF3FD3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B2A048-C4D8-BB61-B7D3-F45426D8AE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D23A44-81C0-30C3-C33B-E7E4533B13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692788-3B1A-D969-5893-863703172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A5A2B1-86E7-4C4B-8360-F0740C09C93F}" type="datetimeFigureOut">
              <a:rPr lang="en-US" smtClean="0"/>
              <a:t>8/29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078D1C-E22A-414D-53FE-E46EDD5E3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1E4C84-414B-2FE7-59D8-10A69284BD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1A720-59FC-604D-A4FE-DBB465017E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419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7F567-4617-90EA-544E-44854F2100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92FE0E-2E2E-AFD3-8769-06335141BF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EF9BA9-097A-03F8-009C-E86AEFA6CC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04A459-D369-4414-BAD4-CC91181478E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4B151D-973A-1929-E6EA-598F18C0A2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332A7D-090F-67ED-1896-7BEA65E14B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A5A2B1-86E7-4C4B-8360-F0740C09C93F}" type="datetimeFigureOut">
              <a:rPr lang="en-US" smtClean="0"/>
              <a:t>8/29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365C831-564B-3EA7-F63D-9007D0D84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D171C65-EB4E-882F-D38E-C12E66208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1A720-59FC-604D-A4FE-DBB465017E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7705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43CC4B-395F-A27E-D5DA-268F7752C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647DDB-41BA-768E-796D-93820979E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A5A2B1-86E7-4C4B-8360-F0740C09C93F}" type="datetimeFigureOut">
              <a:rPr lang="en-US" smtClean="0"/>
              <a:t>8/29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612C40-916D-9463-97FA-B07156B605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E0DC4E-CBEB-B0C5-1B21-87673D4E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1A720-59FC-604D-A4FE-DBB465017E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4850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7CF9137-0D03-FC59-9174-AE32B47380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A5A2B1-86E7-4C4B-8360-F0740C09C93F}" type="datetimeFigureOut">
              <a:rPr lang="en-US" smtClean="0"/>
              <a:t>8/29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F6084A-73DE-44C3-13A5-1488F14CE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A6E679-4CC3-DD58-7052-1C5755F17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1A720-59FC-604D-A4FE-DBB465017E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2273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CC5478-36AF-4273-23B3-18B85130F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2DAD53-6427-BD4A-2AF6-BC1CA0F4D7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8A4648-D978-E691-C561-62EDFE370F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6694F3-4C04-E5C6-9704-6F7F642A47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A5A2B1-86E7-4C4B-8360-F0740C09C93F}" type="datetimeFigureOut">
              <a:rPr lang="en-US" smtClean="0"/>
              <a:t>8/29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1E2F2D-BEC2-7A44-55B7-535E2D4231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144A33-7E72-4C4E-A182-9AF2F9D4ED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1A720-59FC-604D-A4FE-DBB465017E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696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D51924-5393-035D-5F38-282C0E552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BDD305-031E-375C-048C-84A6C4CDA5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DFCB1C-69FB-6EAE-60A0-BD97A695B8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736F33-F000-5844-B69C-B37BF19BBC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A5A2B1-86E7-4C4B-8360-F0740C09C93F}" type="datetimeFigureOut">
              <a:rPr lang="en-US" smtClean="0"/>
              <a:t>8/29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D7BFEB-0542-5E96-EB82-57CD3F7553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CA37CB-1227-6715-4CC2-02B505FB7A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1A720-59FC-604D-A4FE-DBB465017E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216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3F6565D-0718-B486-ED22-52EB4EC135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178334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ED0F806-1D15-68F8-797F-FB1747CE9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07CCD9-55A4-423A-2A67-73B23CBFF3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B2688F-6B89-6EEC-AADF-41E9B32623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2A5A2B1-86E7-4C4B-8360-F0740C09C93F}" type="datetimeFigureOut">
              <a:rPr lang="en-US" smtClean="0"/>
              <a:t>8/2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CB0F09-971F-CF0E-243C-A97E634733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C6BCB-280E-8E72-A40D-1FC2886632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921A720-59FC-604D-A4FE-DBB465017E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236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A44E9A6-9392-5818-8009-8507EF73CD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3032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477039A-6366-CC35-AF27-1B7C54E86240}"/>
              </a:ext>
            </a:extLst>
          </p:cNvPr>
          <p:cNvSpPr/>
          <p:nvPr/>
        </p:nvSpPr>
        <p:spPr>
          <a:xfrm>
            <a:off x="2269479" y="3920173"/>
            <a:ext cx="1452537" cy="6539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9DFC2E-D33C-E4DF-5A8A-882ECCE7256C}"/>
              </a:ext>
            </a:extLst>
          </p:cNvPr>
          <p:cNvSpPr txBox="1"/>
          <p:nvPr/>
        </p:nvSpPr>
        <p:spPr>
          <a:xfrm>
            <a:off x="2614200" y="4062480"/>
            <a:ext cx="7630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app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3112874-DEED-4B8C-7014-177B900A1894}"/>
              </a:ext>
            </a:extLst>
          </p:cNvPr>
          <p:cNvSpPr/>
          <p:nvPr/>
        </p:nvSpPr>
        <p:spPr>
          <a:xfrm>
            <a:off x="3889731" y="3920173"/>
            <a:ext cx="1452537" cy="6539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F2283D-5D0B-0986-72B8-AC1C86AFCAF9}"/>
              </a:ext>
            </a:extLst>
          </p:cNvPr>
          <p:cNvSpPr txBox="1"/>
          <p:nvPr/>
        </p:nvSpPr>
        <p:spPr>
          <a:xfrm>
            <a:off x="4005849" y="4062480"/>
            <a:ext cx="1220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sAp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ECA8C68-EE7D-1CD0-6F4C-B7A965FDE8A1}"/>
              </a:ext>
            </a:extLst>
          </p:cNvPr>
          <p:cNvSpPr/>
          <p:nvPr/>
        </p:nvSpPr>
        <p:spPr>
          <a:xfrm>
            <a:off x="5458386" y="3920173"/>
            <a:ext cx="1452537" cy="6539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A80FBA-C540-C00B-CE40-3E06074152AC}"/>
              </a:ext>
            </a:extLst>
          </p:cNvPr>
          <p:cNvSpPr txBox="1"/>
          <p:nvPr/>
        </p:nvSpPr>
        <p:spPr>
          <a:xfrm>
            <a:off x="5574504" y="4062480"/>
            <a:ext cx="11660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acebook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37AD33-6D1A-5CE3-9F4F-718B70B02181}"/>
              </a:ext>
            </a:extLst>
          </p:cNvPr>
          <p:cNvSpPr/>
          <p:nvPr/>
        </p:nvSpPr>
        <p:spPr>
          <a:xfrm>
            <a:off x="7037691" y="3920173"/>
            <a:ext cx="1452537" cy="6539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8BAF346-A28C-EEA6-1EEC-158C705A5EDD}"/>
              </a:ext>
            </a:extLst>
          </p:cNvPr>
          <p:cNvSpPr txBox="1"/>
          <p:nvPr/>
        </p:nvSpPr>
        <p:spPr>
          <a:xfrm>
            <a:off x="7153809" y="4062480"/>
            <a:ext cx="11822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stagra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8A7D572-7BDC-4C6A-FCEC-C3E203F648A3}"/>
              </a:ext>
            </a:extLst>
          </p:cNvPr>
          <p:cNvSpPr txBox="1"/>
          <p:nvPr/>
        </p:nvSpPr>
        <p:spPr>
          <a:xfrm>
            <a:off x="588884" y="4062480"/>
            <a:ext cx="11416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hannel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0EC5A77-DEBA-EFD3-4555-A9A627616A3C}"/>
              </a:ext>
            </a:extLst>
          </p:cNvPr>
          <p:cNvSpPr/>
          <p:nvPr/>
        </p:nvSpPr>
        <p:spPr>
          <a:xfrm>
            <a:off x="3889731" y="3010406"/>
            <a:ext cx="4600497" cy="6539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D78930-9CB7-EA97-D1C8-AFA8ACA804EF}"/>
              </a:ext>
            </a:extLst>
          </p:cNvPr>
          <p:cNvSpPr txBox="1"/>
          <p:nvPr/>
        </p:nvSpPr>
        <p:spPr>
          <a:xfrm>
            <a:off x="5738538" y="3152713"/>
            <a:ext cx="8922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Wompi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3F47D6B-ECA0-5683-BA28-169D8E18232D}"/>
              </a:ext>
            </a:extLst>
          </p:cNvPr>
          <p:cNvSpPr txBox="1"/>
          <p:nvPr/>
        </p:nvSpPr>
        <p:spPr>
          <a:xfrm>
            <a:off x="588884" y="3152713"/>
            <a:ext cx="11696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aymen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BEE1EAC-26E4-0BDF-4A3C-FA1CB818B8EB}"/>
              </a:ext>
            </a:extLst>
          </p:cNvPr>
          <p:cNvSpPr txBox="1"/>
          <p:nvPr/>
        </p:nvSpPr>
        <p:spPr>
          <a:xfrm>
            <a:off x="588884" y="2129384"/>
            <a:ext cx="13722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Facturacion</a:t>
            </a:r>
            <a:r>
              <a:rPr lang="en-US" dirty="0"/>
              <a:t>/billing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16CA386-B0BC-6946-C9CC-1314C86FBE5B}"/>
              </a:ext>
            </a:extLst>
          </p:cNvPr>
          <p:cNvSpPr/>
          <p:nvPr/>
        </p:nvSpPr>
        <p:spPr>
          <a:xfrm>
            <a:off x="3889731" y="2129384"/>
            <a:ext cx="4600497" cy="6539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BBFEFB4-0C9C-35DC-D763-20FD1CE004DF}"/>
              </a:ext>
            </a:extLst>
          </p:cNvPr>
          <p:cNvSpPr txBox="1"/>
          <p:nvPr/>
        </p:nvSpPr>
        <p:spPr>
          <a:xfrm>
            <a:off x="5738538" y="2271691"/>
            <a:ext cx="8840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Siigo</a:t>
            </a:r>
            <a:r>
              <a:rPr lang="en-US" dirty="0"/>
              <a:t>??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742C8BD-ABF7-F2E4-243D-1EB2AEAA4DEA}"/>
              </a:ext>
            </a:extLst>
          </p:cNvPr>
          <p:cNvSpPr txBox="1"/>
          <p:nvPr/>
        </p:nvSpPr>
        <p:spPr>
          <a:xfrm>
            <a:off x="588884" y="270588"/>
            <a:ext cx="5390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Event automated sal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45D4261-2115-E3A6-8264-3EE43A69D9CB}"/>
              </a:ext>
            </a:extLst>
          </p:cNvPr>
          <p:cNvSpPr txBox="1"/>
          <p:nvPr/>
        </p:nvSpPr>
        <p:spPr>
          <a:xfrm>
            <a:off x="588883" y="1417373"/>
            <a:ext cx="1372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gistic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8738B3C-380F-F5A1-9198-F302FE23E4DC}"/>
              </a:ext>
            </a:extLst>
          </p:cNvPr>
          <p:cNvSpPr/>
          <p:nvPr/>
        </p:nvSpPr>
        <p:spPr>
          <a:xfrm>
            <a:off x="3889731" y="1281848"/>
            <a:ext cx="4600497" cy="6539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E4D5C57-C474-26A3-9996-95C6021FBF82}"/>
              </a:ext>
            </a:extLst>
          </p:cNvPr>
          <p:cNvSpPr txBox="1"/>
          <p:nvPr/>
        </p:nvSpPr>
        <p:spPr>
          <a:xfrm>
            <a:off x="4956981" y="1417373"/>
            <a:ext cx="2465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Mensajeros</a:t>
            </a:r>
            <a:r>
              <a:rPr lang="en-US" dirty="0"/>
              <a:t> Urbanos??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598B9CB-E6A5-0BFA-13EA-16E24A6D14A6}"/>
              </a:ext>
            </a:extLst>
          </p:cNvPr>
          <p:cNvSpPr/>
          <p:nvPr/>
        </p:nvSpPr>
        <p:spPr>
          <a:xfrm>
            <a:off x="2269479" y="4786680"/>
            <a:ext cx="6220749" cy="65394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0E34835-AA4E-5FD8-DDB0-AED821670DF6}"/>
              </a:ext>
            </a:extLst>
          </p:cNvPr>
          <p:cNvSpPr txBox="1"/>
          <p:nvPr/>
        </p:nvSpPr>
        <p:spPr>
          <a:xfrm>
            <a:off x="4147742" y="4928987"/>
            <a:ext cx="23890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Supabase</a:t>
            </a:r>
            <a:r>
              <a:rPr lang="en-US" dirty="0"/>
              <a:t> PostgreSQ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8F00F28-B942-3C35-D122-C7D6D62CD8C5}"/>
              </a:ext>
            </a:extLst>
          </p:cNvPr>
          <p:cNvSpPr txBox="1"/>
          <p:nvPr/>
        </p:nvSpPr>
        <p:spPr>
          <a:xfrm>
            <a:off x="588882" y="4888932"/>
            <a:ext cx="15774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ackend order stor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F451C89-43FE-244A-4836-606E487F529D}"/>
              </a:ext>
            </a:extLst>
          </p:cNvPr>
          <p:cNvSpPr/>
          <p:nvPr/>
        </p:nvSpPr>
        <p:spPr>
          <a:xfrm>
            <a:off x="5655589" y="621280"/>
            <a:ext cx="523360" cy="18892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9C81FDE-A6BE-76F6-9893-FB4A6E06C67B}"/>
              </a:ext>
            </a:extLst>
          </p:cNvPr>
          <p:cNvSpPr/>
          <p:nvPr/>
        </p:nvSpPr>
        <p:spPr>
          <a:xfrm>
            <a:off x="7482352" y="645067"/>
            <a:ext cx="523360" cy="18892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B2147B5-C616-78D9-EEEB-7D8F78692ECE}"/>
              </a:ext>
            </a:extLst>
          </p:cNvPr>
          <p:cNvSpPr/>
          <p:nvPr/>
        </p:nvSpPr>
        <p:spPr>
          <a:xfrm>
            <a:off x="9034638" y="671751"/>
            <a:ext cx="523360" cy="18892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E8CD270-D4AE-B47F-BB1F-DF3364E84E56}"/>
              </a:ext>
            </a:extLst>
          </p:cNvPr>
          <p:cNvSpPr txBox="1"/>
          <p:nvPr/>
        </p:nvSpPr>
        <p:spPr>
          <a:xfrm>
            <a:off x="6298548" y="554862"/>
            <a:ext cx="98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External integration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AC4C8AC-A979-6474-B815-C0CE2036A79B}"/>
              </a:ext>
            </a:extLst>
          </p:cNvPr>
          <p:cNvSpPr txBox="1"/>
          <p:nvPr/>
        </p:nvSpPr>
        <p:spPr>
          <a:xfrm>
            <a:off x="8131767" y="535380"/>
            <a:ext cx="98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ols &amp; backen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0BC68FF-8DA1-1DEA-297D-9F2FE5A7B9FF}"/>
              </a:ext>
            </a:extLst>
          </p:cNvPr>
          <p:cNvSpPr txBox="1"/>
          <p:nvPr/>
        </p:nvSpPr>
        <p:spPr>
          <a:xfrm>
            <a:off x="9665509" y="642087"/>
            <a:ext cx="9845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Agents</a:t>
            </a:r>
          </a:p>
        </p:txBody>
      </p:sp>
    </p:spTree>
    <p:extLst>
      <p:ext uri="{BB962C8B-B14F-4D97-AF65-F5344CB8AC3E}">
        <p14:creationId xmlns:p14="http://schemas.microsoft.com/office/powerpoint/2010/main" val="1961332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6E9E8B-FDFE-54E6-9E82-1FC2556892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A87A805-DF62-C10C-B0C2-ADC7F8E10BBA}"/>
              </a:ext>
            </a:extLst>
          </p:cNvPr>
          <p:cNvSpPr txBox="1"/>
          <p:nvPr/>
        </p:nvSpPr>
        <p:spPr>
          <a:xfrm>
            <a:off x="588884" y="270588"/>
            <a:ext cx="5390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AI business plann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574604-96DD-F503-2F2E-78A97AA7D5E5}"/>
              </a:ext>
            </a:extLst>
          </p:cNvPr>
          <p:cNvSpPr txBox="1"/>
          <p:nvPr/>
        </p:nvSpPr>
        <p:spPr>
          <a:xfrm>
            <a:off x="588884" y="1080486"/>
            <a:ext cx="40312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enu Planning &amp; Cur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47EB8BF-9E97-8FD4-1D95-0FC41424A263}"/>
              </a:ext>
            </a:extLst>
          </p:cNvPr>
          <p:cNvSpPr/>
          <p:nvPr/>
        </p:nvSpPr>
        <p:spPr>
          <a:xfrm>
            <a:off x="598477" y="1767107"/>
            <a:ext cx="2171226" cy="89523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F62BB0-7C2A-5F28-EF02-DE1E63B54E04}"/>
              </a:ext>
            </a:extLst>
          </p:cNvPr>
          <p:cNvSpPr txBox="1"/>
          <p:nvPr/>
        </p:nvSpPr>
        <p:spPr>
          <a:xfrm>
            <a:off x="680938" y="1864651"/>
            <a:ext cx="19738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eep Research Agent(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347767-3CE6-94F1-5FE6-091278E44020}"/>
              </a:ext>
            </a:extLst>
          </p:cNvPr>
          <p:cNvSpPr/>
          <p:nvPr/>
        </p:nvSpPr>
        <p:spPr>
          <a:xfrm>
            <a:off x="3170834" y="1767107"/>
            <a:ext cx="2889902" cy="89523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3893F5-226E-CFEC-B3C3-34732DF8DCF1}"/>
              </a:ext>
            </a:extLst>
          </p:cNvPr>
          <p:cNvSpPr txBox="1"/>
          <p:nvPr/>
        </p:nvSpPr>
        <p:spPr>
          <a:xfrm>
            <a:off x="3285962" y="1864651"/>
            <a:ext cx="262718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Menu Creation Agent (items &amp; prices, what makes strategic sense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E98CCE2-327A-4990-4C21-A0B02352BDFA}"/>
              </a:ext>
            </a:extLst>
          </p:cNvPr>
          <p:cNvSpPr/>
          <p:nvPr/>
        </p:nvSpPr>
        <p:spPr>
          <a:xfrm>
            <a:off x="3170834" y="2870001"/>
            <a:ext cx="2889902" cy="56725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8E33ED-65FE-96F1-4BFB-778CC5057C4B}"/>
              </a:ext>
            </a:extLst>
          </p:cNvPr>
          <p:cNvSpPr txBox="1"/>
          <p:nvPr/>
        </p:nvSpPr>
        <p:spPr>
          <a:xfrm>
            <a:off x="3285962" y="2907386"/>
            <a:ext cx="26271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Calculator, Python code execution environ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C49F1BC-1DE8-5E76-7439-5E1595C36353}"/>
              </a:ext>
            </a:extLst>
          </p:cNvPr>
          <p:cNvSpPr/>
          <p:nvPr/>
        </p:nvSpPr>
        <p:spPr>
          <a:xfrm>
            <a:off x="6497961" y="1767107"/>
            <a:ext cx="2585882" cy="89523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D43CE53-BB86-A0B8-9D41-9AA6CFB96DE8}"/>
              </a:ext>
            </a:extLst>
          </p:cNvPr>
          <p:cNvSpPr txBox="1"/>
          <p:nvPr/>
        </p:nvSpPr>
        <p:spPr>
          <a:xfrm>
            <a:off x="6803981" y="2073685"/>
            <a:ext cx="19738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Supabase</a:t>
            </a:r>
            <a:r>
              <a:rPr lang="en-US" sz="1400" dirty="0"/>
              <a:t> backen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3EAEE3C-BAE9-6114-C8C5-88F46D43E5F6}"/>
              </a:ext>
            </a:extLst>
          </p:cNvPr>
          <p:cNvSpPr txBox="1"/>
          <p:nvPr/>
        </p:nvSpPr>
        <p:spPr>
          <a:xfrm>
            <a:off x="588884" y="3862778"/>
            <a:ext cx="40312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Inventory Managemen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0E7B743-8B76-5998-C6E9-C0D83E521726}"/>
              </a:ext>
            </a:extLst>
          </p:cNvPr>
          <p:cNvSpPr/>
          <p:nvPr/>
        </p:nvSpPr>
        <p:spPr>
          <a:xfrm>
            <a:off x="680938" y="4389310"/>
            <a:ext cx="2399146" cy="89523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B3260E7-6C3E-CEDB-A0BE-78E30335F866}"/>
              </a:ext>
            </a:extLst>
          </p:cNvPr>
          <p:cNvSpPr txBox="1"/>
          <p:nvPr/>
        </p:nvSpPr>
        <p:spPr>
          <a:xfrm>
            <a:off x="763399" y="4486854"/>
            <a:ext cx="19738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Inventory Management Agen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32A8939-8D9F-A56B-AC55-FD6FC71D5419}"/>
              </a:ext>
            </a:extLst>
          </p:cNvPr>
          <p:cNvSpPr/>
          <p:nvPr/>
        </p:nvSpPr>
        <p:spPr>
          <a:xfrm>
            <a:off x="3228046" y="4389311"/>
            <a:ext cx="2399146" cy="62076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5818D9-642E-ACAD-3F86-3600CDC857EA}"/>
              </a:ext>
            </a:extLst>
          </p:cNvPr>
          <p:cNvSpPr txBox="1"/>
          <p:nvPr/>
        </p:nvSpPr>
        <p:spPr>
          <a:xfrm>
            <a:off x="3310507" y="4438727"/>
            <a:ext cx="22240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WhatsApp integration with supplier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BF9CD47-6326-B0F2-5B31-EDE08F20C979}"/>
              </a:ext>
            </a:extLst>
          </p:cNvPr>
          <p:cNvSpPr/>
          <p:nvPr/>
        </p:nvSpPr>
        <p:spPr>
          <a:xfrm>
            <a:off x="6497961" y="2921900"/>
            <a:ext cx="2627183" cy="56725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B8E0B2D-CD5A-A1EF-532C-9ECEEB1D5554}"/>
              </a:ext>
            </a:extLst>
          </p:cNvPr>
          <p:cNvSpPr txBox="1"/>
          <p:nvPr/>
        </p:nvSpPr>
        <p:spPr>
          <a:xfrm>
            <a:off x="6613089" y="2959285"/>
            <a:ext cx="26271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emand Forecasting Agen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6650BFB-794F-CB2E-E3ED-A3BC11FF490D}"/>
              </a:ext>
            </a:extLst>
          </p:cNvPr>
          <p:cNvSpPr/>
          <p:nvPr/>
        </p:nvSpPr>
        <p:spPr>
          <a:xfrm>
            <a:off x="3228046" y="5229452"/>
            <a:ext cx="2399146" cy="62076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912DB00-4604-87C3-DD94-3D7B0609AF8A}"/>
              </a:ext>
            </a:extLst>
          </p:cNvPr>
          <p:cNvSpPr txBox="1"/>
          <p:nvPr/>
        </p:nvSpPr>
        <p:spPr>
          <a:xfrm>
            <a:off x="3310507" y="5278224"/>
            <a:ext cx="16980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Inventory Forecasting Agen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266A23-57B4-533F-E046-D565CEBF6503}"/>
              </a:ext>
            </a:extLst>
          </p:cNvPr>
          <p:cNvSpPr/>
          <p:nvPr/>
        </p:nvSpPr>
        <p:spPr>
          <a:xfrm>
            <a:off x="5655589" y="621280"/>
            <a:ext cx="523360" cy="18892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617D993-CA7C-7B20-9167-401E49111EC3}"/>
              </a:ext>
            </a:extLst>
          </p:cNvPr>
          <p:cNvSpPr/>
          <p:nvPr/>
        </p:nvSpPr>
        <p:spPr>
          <a:xfrm>
            <a:off x="7482352" y="645067"/>
            <a:ext cx="523360" cy="18892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6626CF-89B3-B61D-0C31-C92D1C2AEDB2}"/>
              </a:ext>
            </a:extLst>
          </p:cNvPr>
          <p:cNvSpPr/>
          <p:nvPr/>
        </p:nvSpPr>
        <p:spPr>
          <a:xfrm>
            <a:off x="9034638" y="671751"/>
            <a:ext cx="523360" cy="18892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4144E0-AB14-5207-CB5A-7A2C89120740}"/>
              </a:ext>
            </a:extLst>
          </p:cNvPr>
          <p:cNvSpPr txBox="1"/>
          <p:nvPr/>
        </p:nvSpPr>
        <p:spPr>
          <a:xfrm>
            <a:off x="6298548" y="554862"/>
            <a:ext cx="98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External integration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F331A2-56B7-7D31-C653-54B3311D1408}"/>
              </a:ext>
            </a:extLst>
          </p:cNvPr>
          <p:cNvSpPr txBox="1"/>
          <p:nvPr/>
        </p:nvSpPr>
        <p:spPr>
          <a:xfrm>
            <a:off x="8131767" y="535380"/>
            <a:ext cx="98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ols &amp; backen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440580-1667-59C8-9C50-C4515FEB8B2B}"/>
              </a:ext>
            </a:extLst>
          </p:cNvPr>
          <p:cNvSpPr txBox="1"/>
          <p:nvPr/>
        </p:nvSpPr>
        <p:spPr>
          <a:xfrm>
            <a:off x="9665509" y="642087"/>
            <a:ext cx="9845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Agents</a:t>
            </a:r>
          </a:p>
        </p:txBody>
      </p:sp>
    </p:spTree>
    <p:extLst>
      <p:ext uri="{BB962C8B-B14F-4D97-AF65-F5344CB8AC3E}">
        <p14:creationId xmlns:p14="http://schemas.microsoft.com/office/powerpoint/2010/main" val="3195921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D1373A7-072C-3F96-C775-CE0EE3648B48}"/>
              </a:ext>
            </a:extLst>
          </p:cNvPr>
          <p:cNvSpPr txBox="1"/>
          <p:nvPr/>
        </p:nvSpPr>
        <p:spPr>
          <a:xfrm>
            <a:off x="588884" y="270588"/>
            <a:ext cx="5390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AI business planning (2/2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37E0E5-598C-D904-E7C6-B4C9ABC4F71C}"/>
              </a:ext>
            </a:extLst>
          </p:cNvPr>
          <p:cNvSpPr txBox="1"/>
          <p:nvPr/>
        </p:nvSpPr>
        <p:spPr>
          <a:xfrm>
            <a:off x="588884" y="1100055"/>
            <a:ext cx="40312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Outreach and Social Medi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D09FF92-7C0F-018D-E7C4-6A4EF0F1135D}"/>
              </a:ext>
            </a:extLst>
          </p:cNvPr>
          <p:cNvSpPr/>
          <p:nvPr/>
        </p:nvSpPr>
        <p:spPr>
          <a:xfrm>
            <a:off x="2939340" y="1964682"/>
            <a:ext cx="2171226" cy="89523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F61EC12-1C29-8B4E-AA10-93FFA5660787}"/>
              </a:ext>
            </a:extLst>
          </p:cNvPr>
          <p:cNvSpPr txBox="1"/>
          <p:nvPr/>
        </p:nvSpPr>
        <p:spPr>
          <a:xfrm>
            <a:off x="3021801" y="2062226"/>
            <a:ext cx="19738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Content creation agent(s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29A21FB-BF43-D7E6-ECE7-60C77107F9EB}"/>
              </a:ext>
            </a:extLst>
          </p:cNvPr>
          <p:cNvSpPr/>
          <p:nvPr/>
        </p:nvSpPr>
        <p:spPr>
          <a:xfrm>
            <a:off x="5568909" y="1690214"/>
            <a:ext cx="2171226" cy="51884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74D0D0B-B349-F4A8-8A36-B9283FB15210}"/>
              </a:ext>
            </a:extLst>
          </p:cNvPr>
          <p:cNvSpPr txBox="1"/>
          <p:nvPr/>
        </p:nvSpPr>
        <p:spPr>
          <a:xfrm>
            <a:off x="5651370" y="1787757"/>
            <a:ext cx="19738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Instagram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80099A5-C374-4023-3F4D-664D8E3E3B5A}"/>
              </a:ext>
            </a:extLst>
          </p:cNvPr>
          <p:cNvSpPr/>
          <p:nvPr/>
        </p:nvSpPr>
        <p:spPr>
          <a:xfrm>
            <a:off x="5568909" y="2388093"/>
            <a:ext cx="2171226" cy="51884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8E1C3FE-27D2-C402-AF8E-B40B7A505825}"/>
              </a:ext>
            </a:extLst>
          </p:cNvPr>
          <p:cNvSpPr txBox="1"/>
          <p:nvPr/>
        </p:nvSpPr>
        <p:spPr>
          <a:xfrm>
            <a:off x="5651370" y="2485636"/>
            <a:ext cx="19738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acebook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08DFBE7-5951-6D24-EFFE-14D2DFA2EB7F}"/>
              </a:ext>
            </a:extLst>
          </p:cNvPr>
          <p:cNvSpPr/>
          <p:nvPr/>
        </p:nvSpPr>
        <p:spPr>
          <a:xfrm>
            <a:off x="5568909" y="3085972"/>
            <a:ext cx="2171226" cy="51884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F334B58-48EE-9367-8D3C-23C03E0DEBFD}"/>
              </a:ext>
            </a:extLst>
          </p:cNvPr>
          <p:cNvSpPr txBox="1"/>
          <p:nvPr/>
        </p:nvSpPr>
        <p:spPr>
          <a:xfrm>
            <a:off x="5651370" y="3183515"/>
            <a:ext cx="19738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Google busines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8C90941-DB8A-BD0F-1A57-B316938B4E05}"/>
              </a:ext>
            </a:extLst>
          </p:cNvPr>
          <p:cNvSpPr/>
          <p:nvPr/>
        </p:nvSpPr>
        <p:spPr>
          <a:xfrm>
            <a:off x="332643" y="1964682"/>
            <a:ext cx="2171226" cy="89523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2761862-D115-4A5D-AAC8-D0E7A47C4E92}"/>
              </a:ext>
            </a:extLst>
          </p:cNvPr>
          <p:cNvSpPr txBox="1"/>
          <p:nvPr/>
        </p:nvSpPr>
        <p:spPr>
          <a:xfrm>
            <a:off x="415104" y="2062226"/>
            <a:ext cx="19738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cial media orchestration agen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39D9403-7A94-488C-580D-CB68872DB234}"/>
              </a:ext>
            </a:extLst>
          </p:cNvPr>
          <p:cNvSpPr/>
          <p:nvPr/>
        </p:nvSpPr>
        <p:spPr>
          <a:xfrm>
            <a:off x="332643" y="3135557"/>
            <a:ext cx="2171226" cy="51884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C4246E5-5BD2-BEEB-92A9-D2A9429B8229}"/>
              </a:ext>
            </a:extLst>
          </p:cNvPr>
          <p:cNvSpPr txBox="1"/>
          <p:nvPr/>
        </p:nvSpPr>
        <p:spPr>
          <a:xfrm>
            <a:off x="415104" y="3233100"/>
            <a:ext cx="19738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andbox budget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735EF5F-6C4E-459B-01B7-A4C026E3DF21}"/>
              </a:ext>
            </a:extLst>
          </p:cNvPr>
          <p:cNvSpPr/>
          <p:nvPr/>
        </p:nvSpPr>
        <p:spPr>
          <a:xfrm>
            <a:off x="5655589" y="621280"/>
            <a:ext cx="523360" cy="18892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6838412-0B87-6146-67F7-01ADCDF8113D}"/>
              </a:ext>
            </a:extLst>
          </p:cNvPr>
          <p:cNvSpPr/>
          <p:nvPr/>
        </p:nvSpPr>
        <p:spPr>
          <a:xfrm>
            <a:off x="7482352" y="645067"/>
            <a:ext cx="523360" cy="18892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0F815E8-2A37-CB3F-99C1-E35A54A2A119}"/>
              </a:ext>
            </a:extLst>
          </p:cNvPr>
          <p:cNvSpPr/>
          <p:nvPr/>
        </p:nvSpPr>
        <p:spPr>
          <a:xfrm>
            <a:off x="9034638" y="671751"/>
            <a:ext cx="523360" cy="18892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12AE157-F6DD-17B3-F8FF-677C2E3453AC}"/>
              </a:ext>
            </a:extLst>
          </p:cNvPr>
          <p:cNvSpPr txBox="1"/>
          <p:nvPr/>
        </p:nvSpPr>
        <p:spPr>
          <a:xfrm>
            <a:off x="6298548" y="554862"/>
            <a:ext cx="98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External integration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3A22276-750C-7010-7568-98778D32BF49}"/>
              </a:ext>
            </a:extLst>
          </p:cNvPr>
          <p:cNvSpPr txBox="1"/>
          <p:nvPr/>
        </p:nvSpPr>
        <p:spPr>
          <a:xfrm>
            <a:off x="8131767" y="535380"/>
            <a:ext cx="984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ools &amp; backend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384E58B-271C-C167-AD65-852E545E4D23}"/>
              </a:ext>
            </a:extLst>
          </p:cNvPr>
          <p:cNvSpPr txBox="1"/>
          <p:nvPr/>
        </p:nvSpPr>
        <p:spPr>
          <a:xfrm>
            <a:off x="9665509" y="642087"/>
            <a:ext cx="9845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Agents</a:t>
            </a:r>
          </a:p>
        </p:txBody>
      </p:sp>
    </p:spTree>
    <p:extLst>
      <p:ext uri="{BB962C8B-B14F-4D97-AF65-F5344CB8AC3E}">
        <p14:creationId xmlns:p14="http://schemas.microsoft.com/office/powerpoint/2010/main" val="38277376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</TotalTime>
  <Words>119</Words>
  <Application>Microsoft Macintosh PowerPoint</Application>
  <PresentationFormat>Widescreen</PresentationFormat>
  <Paragraphs>44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ptos</vt:lpstr>
      <vt:lpstr>Aptos Display</vt:lpstr>
      <vt:lpstr>Arial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than Kallett</dc:creator>
  <cp:lastModifiedBy>Ethan Kallett</cp:lastModifiedBy>
  <cp:revision>1</cp:revision>
  <dcterms:created xsi:type="dcterms:W3CDTF">2025-08-29T18:13:18Z</dcterms:created>
  <dcterms:modified xsi:type="dcterms:W3CDTF">2025-08-29T19:37:38Z</dcterms:modified>
</cp:coreProperties>
</file>